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10693400" cy="7556500"/>
  <p:notesSz cx="6858000" cy="9144000"/>
  <p:embeddedFontLst>
    <p:embeddedFont>
      <p:font typeface="Bigelow Rules" panose="02000508000000020004" pitchFamily="2" charset="0"/>
      <p:regular r:id="rId3"/>
    </p:embeddedFont>
    <p:embeddedFont>
      <p:font typeface="Fredoka" pitchFamily="2" charset="-79"/>
      <p:regular r:id="rId4"/>
      <p:bold r:id="rId5"/>
    </p:embeddedFont>
    <p:embeddedFont>
      <p:font typeface="Fredoka Medium" pitchFamily="2" charset="-79"/>
      <p:regular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479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91" d="100"/>
          <a:sy n="91" d="100"/>
        </p:scale>
        <p:origin x="1746" y="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82A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Halloween Party #1">
            <a:extLst>
              <a:ext uri="{FF2B5EF4-FFF2-40B4-BE49-F238E27FC236}">
                <a16:creationId xmlns:a16="http://schemas.microsoft.com/office/drawing/2014/main" id="{47FCD263-1FA1-68D2-9414-EE05F05F1786}"/>
              </a:ext>
            </a:extLst>
          </p:cNvPr>
          <p:cNvGrpSpPr/>
          <p:nvPr/>
        </p:nvGrpSpPr>
        <p:grpSpPr>
          <a:xfrm>
            <a:off x="-1000229" y="-1571169"/>
            <a:ext cx="12692951" cy="10792471"/>
            <a:chOff x="-1000229" y="-1571169"/>
            <a:chExt cx="12692951" cy="1079247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9D793D4-D9C7-6424-9891-CC8E87E47EC7}"/>
                </a:ext>
              </a:extLst>
            </p:cNvPr>
            <p:cNvGrpSpPr/>
            <p:nvPr/>
          </p:nvGrpSpPr>
          <p:grpSpPr>
            <a:xfrm>
              <a:off x="-1000229" y="-1571169"/>
              <a:ext cx="12692951" cy="10792471"/>
              <a:chOff x="-1000229" y="-1571169"/>
              <a:chExt cx="12692951" cy="1079247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7D61E099-DEB8-55D6-86C9-54C00B8F2976}"/>
                  </a:ext>
                </a:extLst>
              </p:cNvPr>
              <p:cNvSpPr/>
              <p:nvPr/>
            </p:nvSpPr>
            <p:spPr>
              <a:xfrm rot="5014722">
                <a:off x="-1045239" y="6265647"/>
                <a:ext cx="3000665" cy="2910645"/>
              </a:xfrm>
              <a:custGeom>
                <a:avLst/>
                <a:gdLst>
                  <a:gd name="connsiteX0" fmla="*/ 3000665 w 3000665"/>
                  <a:gd name="connsiteY0" fmla="*/ 2373084 h 2910645"/>
                  <a:gd name="connsiteX1" fmla="*/ 3000665 w 3000665"/>
                  <a:gd name="connsiteY1" fmla="*/ 2910645 h 2910645"/>
                  <a:gd name="connsiteX2" fmla="*/ 2940166 w 3000665"/>
                  <a:gd name="connsiteY2" fmla="*/ 2910645 h 2910645"/>
                  <a:gd name="connsiteX3" fmla="*/ 2328443 w 3000665"/>
                  <a:gd name="connsiteY3" fmla="*/ 0 h 2910645"/>
                  <a:gd name="connsiteX4" fmla="*/ 3000665 w 3000665"/>
                  <a:gd name="connsiteY4" fmla="*/ 0 h 2910645"/>
                  <a:gd name="connsiteX5" fmla="*/ 3000665 w 3000665"/>
                  <a:gd name="connsiteY5" fmla="*/ 75655 h 2910645"/>
                  <a:gd name="connsiteX6" fmla="*/ 0 w 3000665"/>
                  <a:gd name="connsiteY6" fmla="*/ 2870329 h 2910645"/>
                  <a:gd name="connsiteX7" fmla="*/ 358219 w 3000665"/>
                  <a:gd name="connsiteY7" fmla="*/ 2910645 h 2910645"/>
                  <a:gd name="connsiteX8" fmla="*/ 0 w 3000665"/>
                  <a:gd name="connsiteY8" fmla="*/ 2910645 h 2910645"/>
                  <a:gd name="connsiteX9" fmla="*/ 0 w 3000665"/>
                  <a:gd name="connsiteY9" fmla="*/ 0 h 2910645"/>
                  <a:gd name="connsiteX10" fmla="*/ 1498613 w 3000665"/>
                  <a:gd name="connsiteY10" fmla="*/ 0 h 2910645"/>
                  <a:gd name="connsiteX11" fmla="*/ 1285841 w 3000665"/>
                  <a:gd name="connsiteY11" fmla="*/ 1890558 h 2910645"/>
                  <a:gd name="connsiteX12" fmla="*/ 113887 w 3000665"/>
                  <a:gd name="connsiteY12" fmla="*/ 1758661 h 2910645"/>
                  <a:gd name="connsiteX13" fmla="*/ 0 w 3000665"/>
                  <a:gd name="connsiteY13" fmla="*/ 2770590 h 29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00665" h="2910645">
                    <a:moveTo>
                      <a:pt x="3000665" y="2373084"/>
                    </a:moveTo>
                    <a:lnTo>
                      <a:pt x="3000665" y="2910645"/>
                    </a:lnTo>
                    <a:lnTo>
                      <a:pt x="2940166" y="2910645"/>
                    </a:lnTo>
                    <a:close/>
                    <a:moveTo>
                      <a:pt x="2328443" y="0"/>
                    </a:moveTo>
                    <a:lnTo>
                      <a:pt x="3000665" y="0"/>
                    </a:lnTo>
                    <a:lnTo>
                      <a:pt x="3000665" y="75655"/>
                    </a:lnTo>
                    <a:close/>
                    <a:moveTo>
                      <a:pt x="0" y="2870329"/>
                    </a:moveTo>
                    <a:lnTo>
                      <a:pt x="358219" y="2910645"/>
                    </a:lnTo>
                    <a:lnTo>
                      <a:pt x="0" y="2910645"/>
                    </a:lnTo>
                    <a:close/>
                    <a:moveTo>
                      <a:pt x="0" y="0"/>
                    </a:moveTo>
                    <a:lnTo>
                      <a:pt x="1498613" y="0"/>
                    </a:lnTo>
                    <a:lnTo>
                      <a:pt x="1285841" y="1890558"/>
                    </a:lnTo>
                    <a:lnTo>
                      <a:pt x="113887" y="1758661"/>
                    </a:lnTo>
                    <a:lnTo>
                      <a:pt x="0" y="277059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042EC2AB-3DE8-6216-91B1-8572C3602699}"/>
                  </a:ext>
                </a:extLst>
              </p:cNvPr>
              <p:cNvSpPr/>
              <p:nvPr/>
            </p:nvSpPr>
            <p:spPr>
              <a:xfrm rot="-5015999" flipH="1">
                <a:off x="8737068" y="6265647"/>
                <a:ext cx="3000664" cy="2910645"/>
              </a:xfrm>
              <a:custGeom>
                <a:avLst/>
                <a:gdLst>
                  <a:gd name="connsiteX0" fmla="*/ 2529974 w 3000664"/>
                  <a:gd name="connsiteY0" fmla="*/ 2170251 h 2910645"/>
                  <a:gd name="connsiteX1" fmla="*/ 2446925 w 3000664"/>
                  <a:gd name="connsiteY1" fmla="*/ 2910645 h 2910645"/>
                  <a:gd name="connsiteX2" fmla="*/ 3000664 w 3000664"/>
                  <a:gd name="connsiteY2" fmla="*/ 2910645 h 2910645"/>
                  <a:gd name="connsiteX3" fmla="*/ 3000664 w 3000664"/>
                  <a:gd name="connsiteY3" fmla="*/ 1928059 h 2910645"/>
                  <a:gd name="connsiteX4" fmla="*/ 2967987 w 3000664"/>
                  <a:gd name="connsiteY4" fmla="*/ 2219383 h 2910645"/>
                  <a:gd name="connsiteX5" fmla="*/ 1638908 w 3000664"/>
                  <a:gd name="connsiteY5" fmla="*/ 0 h 2910645"/>
                  <a:gd name="connsiteX6" fmla="*/ 3000664 w 3000664"/>
                  <a:gd name="connsiteY6" fmla="*/ 152746 h 2910645"/>
                  <a:gd name="connsiteX7" fmla="*/ 3000664 w 3000664"/>
                  <a:gd name="connsiteY7" fmla="*/ 0 h 2910645"/>
                  <a:gd name="connsiteX8" fmla="*/ 0 w 3000664"/>
                  <a:gd name="connsiteY8" fmla="*/ 2870331 h 2910645"/>
                  <a:gd name="connsiteX9" fmla="*/ 0 w 3000664"/>
                  <a:gd name="connsiteY9" fmla="*/ 2910645 h 2910645"/>
                  <a:gd name="connsiteX10" fmla="*/ 359408 w 3000664"/>
                  <a:gd name="connsiteY10" fmla="*/ 2910645 h 2910645"/>
                  <a:gd name="connsiteX11" fmla="*/ 0 w 3000664"/>
                  <a:gd name="connsiteY11" fmla="*/ 0 h 2910645"/>
                  <a:gd name="connsiteX12" fmla="*/ 0 w 3000664"/>
                  <a:gd name="connsiteY12" fmla="*/ 2702861 h 2910645"/>
                  <a:gd name="connsiteX13" fmla="*/ 106393 w 3000664"/>
                  <a:gd name="connsiteY13" fmla="*/ 1754350 h 2910645"/>
                  <a:gd name="connsiteX14" fmla="*/ 1286443 w 3000664"/>
                  <a:gd name="connsiteY14" fmla="*/ 1886714 h 2910645"/>
                  <a:gd name="connsiteX15" fmla="*/ 1498072 w 3000664"/>
                  <a:gd name="connsiteY15" fmla="*/ 0 h 29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00664" h="2910645">
                    <a:moveTo>
                      <a:pt x="2529974" y="2170251"/>
                    </a:moveTo>
                    <a:lnTo>
                      <a:pt x="2446925" y="2910645"/>
                    </a:lnTo>
                    <a:lnTo>
                      <a:pt x="3000664" y="2910645"/>
                    </a:lnTo>
                    <a:lnTo>
                      <a:pt x="3000664" y="1928059"/>
                    </a:lnTo>
                    <a:lnTo>
                      <a:pt x="2967987" y="2219383"/>
                    </a:lnTo>
                    <a:close/>
                    <a:moveTo>
                      <a:pt x="1638908" y="0"/>
                    </a:moveTo>
                    <a:lnTo>
                      <a:pt x="3000664" y="152746"/>
                    </a:lnTo>
                    <a:lnTo>
                      <a:pt x="3000664" y="0"/>
                    </a:lnTo>
                    <a:close/>
                    <a:moveTo>
                      <a:pt x="0" y="2870331"/>
                    </a:moveTo>
                    <a:lnTo>
                      <a:pt x="0" y="2910645"/>
                    </a:lnTo>
                    <a:lnTo>
                      <a:pt x="359408" y="2910645"/>
                    </a:lnTo>
                    <a:close/>
                    <a:moveTo>
                      <a:pt x="0" y="0"/>
                    </a:moveTo>
                    <a:lnTo>
                      <a:pt x="0" y="2702861"/>
                    </a:lnTo>
                    <a:lnTo>
                      <a:pt x="106393" y="1754350"/>
                    </a:lnTo>
                    <a:lnTo>
                      <a:pt x="1286443" y="1886714"/>
                    </a:lnTo>
                    <a:lnTo>
                      <a:pt x="1498072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9936000" y="3780000"/>
                <a:ext cx="757400" cy="675590"/>
              </a:xfrm>
              <a:custGeom>
                <a:avLst/>
                <a:gdLst/>
                <a:ahLst/>
                <a:cxnLst/>
                <a:rect l="l" t="t" r="r" b="b"/>
                <a:pathLst>
                  <a:path w="1361368" h="900787">
                    <a:moveTo>
                      <a:pt x="0" y="0"/>
                    </a:moveTo>
                    <a:lnTo>
                      <a:pt x="1361367" y="0"/>
                    </a:lnTo>
                    <a:lnTo>
                      <a:pt x="1361367" y="900787"/>
                    </a:lnTo>
                    <a:lnTo>
                      <a:pt x="0" y="90078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74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34806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Freeform 7"/>
              <p:cNvSpPr/>
              <p:nvPr/>
            </p:nvSpPr>
            <p:spPr>
              <a:xfrm flipH="1">
                <a:off x="0" y="3780000"/>
                <a:ext cx="756000" cy="675590"/>
              </a:xfrm>
              <a:custGeom>
                <a:avLst/>
                <a:gdLst/>
                <a:ahLst/>
                <a:cxnLst/>
                <a:rect l="l" t="t" r="r" b="b"/>
                <a:pathLst>
                  <a:path w="1361368" h="900787">
                    <a:moveTo>
                      <a:pt x="1361368" y="0"/>
                    </a:moveTo>
                    <a:lnTo>
                      <a:pt x="0" y="0"/>
                    </a:lnTo>
                    <a:lnTo>
                      <a:pt x="0" y="900787"/>
                    </a:lnTo>
                    <a:lnTo>
                      <a:pt x="1361368" y="900787"/>
                    </a:lnTo>
                    <a:lnTo>
                      <a:pt x="1361368" y="0"/>
                    </a:lnTo>
                    <a:close/>
                  </a:path>
                </a:pathLst>
              </a:custGeom>
              <a:blipFill>
                <a:blip r:embed="rId5">
                  <a:alphaModFix amt="74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35056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82747E42-730B-0727-6E5B-C13CBDDF63A3}"/>
                  </a:ext>
                </a:extLst>
              </p:cNvPr>
              <p:cNvSpPr/>
              <p:nvPr/>
            </p:nvSpPr>
            <p:spPr>
              <a:xfrm rot="20639756">
                <a:off x="-462177" y="2110865"/>
                <a:ext cx="1252179" cy="656236"/>
              </a:xfrm>
              <a:custGeom>
                <a:avLst/>
                <a:gdLst>
                  <a:gd name="connsiteX0" fmla="*/ 1252179 w 1252179"/>
                  <a:gd name="connsiteY0" fmla="*/ 0 h 656236"/>
                  <a:gd name="connsiteX1" fmla="*/ 1252179 w 1252179"/>
                  <a:gd name="connsiteY1" fmla="*/ 656236 h 656236"/>
                  <a:gd name="connsiteX2" fmla="*/ 0 w 1252179"/>
                  <a:gd name="connsiteY2" fmla="*/ 656236 h 656236"/>
                  <a:gd name="connsiteX3" fmla="*/ 0 w 1252179"/>
                  <a:gd name="connsiteY3" fmla="*/ 335070 h 656236"/>
                  <a:gd name="connsiteX4" fmla="*/ 417750 w 1252179"/>
                  <a:gd name="connsiteY4" fmla="*/ 454890 h 656236"/>
                  <a:gd name="connsiteX5" fmla="*/ 518116 w 1252179"/>
                  <a:gd name="connsiteY5" fmla="*/ 104966 h 656236"/>
                  <a:gd name="connsiteX6" fmla="*/ 152153 w 1252179"/>
                  <a:gd name="connsiteY6" fmla="*/ 0 h 656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2179" h="656236">
                    <a:moveTo>
                      <a:pt x="1252179" y="0"/>
                    </a:moveTo>
                    <a:lnTo>
                      <a:pt x="1252179" y="656236"/>
                    </a:lnTo>
                    <a:lnTo>
                      <a:pt x="0" y="656236"/>
                    </a:lnTo>
                    <a:lnTo>
                      <a:pt x="0" y="335070"/>
                    </a:lnTo>
                    <a:lnTo>
                      <a:pt x="417750" y="454890"/>
                    </a:lnTo>
                    <a:lnTo>
                      <a:pt x="518116" y="104966"/>
                    </a:lnTo>
                    <a:lnTo>
                      <a:pt x="152153" y="0"/>
                    </a:lnTo>
                    <a:close/>
                  </a:path>
                </a:pathLst>
              </a:custGeom>
              <a:blipFill>
                <a:blip r:embed="rId7">
                  <a:alphaModFix amt="5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D2BB53F-D55C-C0A1-BA4B-73BDBCA62BFE}"/>
                  </a:ext>
                </a:extLst>
              </p:cNvPr>
              <p:cNvSpPr/>
              <p:nvPr/>
            </p:nvSpPr>
            <p:spPr>
              <a:xfrm rot="960000" flipH="1">
                <a:off x="9902009" y="2110865"/>
                <a:ext cx="1252178" cy="656236"/>
              </a:xfrm>
              <a:custGeom>
                <a:avLst/>
                <a:gdLst>
                  <a:gd name="connsiteX0" fmla="*/ 1252178 w 1252178"/>
                  <a:gd name="connsiteY0" fmla="*/ 0 h 656236"/>
                  <a:gd name="connsiteX1" fmla="*/ 151994 w 1252178"/>
                  <a:gd name="connsiteY1" fmla="*/ 0 h 656236"/>
                  <a:gd name="connsiteX2" fmla="*/ 518108 w 1252178"/>
                  <a:gd name="connsiteY2" fmla="*/ 104981 h 656236"/>
                  <a:gd name="connsiteX3" fmla="*/ 417768 w 1252178"/>
                  <a:gd name="connsiteY3" fmla="*/ 454909 h 656236"/>
                  <a:gd name="connsiteX4" fmla="*/ 0 w 1252178"/>
                  <a:gd name="connsiteY4" fmla="*/ 335115 h 656236"/>
                  <a:gd name="connsiteX5" fmla="*/ 0 w 1252178"/>
                  <a:gd name="connsiteY5" fmla="*/ 656236 h 656236"/>
                  <a:gd name="connsiteX6" fmla="*/ 1252178 w 1252178"/>
                  <a:gd name="connsiteY6" fmla="*/ 656236 h 656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2178" h="656236">
                    <a:moveTo>
                      <a:pt x="1252178" y="0"/>
                    </a:moveTo>
                    <a:lnTo>
                      <a:pt x="151994" y="0"/>
                    </a:lnTo>
                    <a:lnTo>
                      <a:pt x="518108" y="104981"/>
                    </a:lnTo>
                    <a:lnTo>
                      <a:pt x="417768" y="454909"/>
                    </a:lnTo>
                    <a:lnTo>
                      <a:pt x="0" y="335115"/>
                    </a:lnTo>
                    <a:lnTo>
                      <a:pt x="0" y="656236"/>
                    </a:lnTo>
                    <a:lnTo>
                      <a:pt x="1252178" y="656236"/>
                    </a:lnTo>
                    <a:close/>
                  </a:path>
                </a:pathLst>
              </a:custGeom>
              <a:blipFill>
                <a:blip r:embed="rId7">
                  <a:alphaModFix amt="5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303126D7-3810-C5FF-5FF2-B9C78D3DBFA4}"/>
                  </a:ext>
                </a:extLst>
              </p:cNvPr>
              <p:cNvSpPr/>
              <p:nvPr/>
            </p:nvSpPr>
            <p:spPr>
              <a:xfrm rot="20639756">
                <a:off x="-462177" y="5244139"/>
                <a:ext cx="1252179" cy="656236"/>
              </a:xfrm>
              <a:custGeom>
                <a:avLst/>
                <a:gdLst>
                  <a:gd name="connsiteX0" fmla="*/ 1252179 w 1252179"/>
                  <a:gd name="connsiteY0" fmla="*/ 0 h 656236"/>
                  <a:gd name="connsiteX1" fmla="*/ 1252179 w 1252179"/>
                  <a:gd name="connsiteY1" fmla="*/ 656236 h 656236"/>
                  <a:gd name="connsiteX2" fmla="*/ 0 w 1252179"/>
                  <a:gd name="connsiteY2" fmla="*/ 656236 h 656236"/>
                  <a:gd name="connsiteX3" fmla="*/ 0 w 1252179"/>
                  <a:gd name="connsiteY3" fmla="*/ 333886 h 656236"/>
                  <a:gd name="connsiteX4" fmla="*/ 418063 w 1252179"/>
                  <a:gd name="connsiteY4" fmla="*/ 453796 h 656236"/>
                  <a:gd name="connsiteX5" fmla="*/ 520617 w 1252179"/>
                  <a:gd name="connsiteY5" fmla="*/ 96245 h 656236"/>
                  <a:gd name="connsiteX6" fmla="*/ 185061 w 1252179"/>
                  <a:gd name="connsiteY6" fmla="*/ 0 h 656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2179" h="656236">
                    <a:moveTo>
                      <a:pt x="1252179" y="0"/>
                    </a:moveTo>
                    <a:lnTo>
                      <a:pt x="1252179" y="656236"/>
                    </a:lnTo>
                    <a:lnTo>
                      <a:pt x="0" y="656236"/>
                    </a:lnTo>
                    <a:lnTo>
                      <a:pt x="0" y="333886"/>
                    </a:lnTo>
                    <a:lnTo>
                      <a:pt x="418063" y="453796"/>
                    </a:lnTo>
                    <a:lnTo>
                      <a:pt x="520617" y="96245"/>
                    </a:lnTo>
                    <a:lnTo>
                      <a:pt x="185061" y="0"/>
                    </a:lnTo>
                    <a:close/>
                  </a:path>
                </a:pathLst>
              </a:custGeom>
              <a:blipFill>
                <a:blip r:embed="rId7">
                  <a:alphaModFix amt="5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43CA9CC-D1D5-01B2-0194-5F375124ADAE}"/>
                  </a:ext>
                </a:extLst>
              </p:cNvPr>
              <p:cNvSpPr/>
              <p:nvPr/>
            </p:nvSpPr>
            <p:spPr>
              <a:xfrm rot="960000" flipH="1">
                <a:off x="9902009" y="5244139"/>
                <a:ext cx="1252178" cy="656236"/>
              </a:xfrm>
              <a:custGeom>
                <a:avLst/>
                <a:gdLst>
                  <a:gd name="connsiteX0" fmla="*/ 6527 w 1252178"/>
                  <a:gd name="connsiteY0" fmla="*/ 0 h 656236"/>
                  <a:gd name="connsiteX1" fmla="*/ 0 w 1252178"/>
                  <a:gd name="connsiteY1" fmla="*/ 0 h 656236"/>
                  <a:gd name="connsiteX2" fmla="*/ 0 w 1252178"/>
                  <a:gd name="connsiteY2" fmla="*/ 22762 h 656236"/>
                  <a:gd name="connsiteX3" fmla="*/ 1252178 w 1252178"/>
                  <a:gd name="connsiteY3" fmla="*/ 0 h 656236"/>
                  <a:gd name="connsiteX4" fmla="*/ 184933 w 1252178"/>
                  <a:gd name="connsiteY4" fmla="*/ 0 h 656236"/>
                  <a:gd name="connsiteX5" fmla="*/ 520610 w 1252178"/>
                  <a:gd name="connsiteY5" fmla="*/ 96254 h 656236"/>
                  <a:gd name="connsiteX6" fmla="*/ 436596 w 1252178"/>
                  <a:gd name="connsiteY6" fmla="*/ 389248 h 656236"/>
                  <a:gd name="connsiteX7" fmla="*/ 0 w 1252178"/>
                  <a:gd name="connsiteY7" fmla="*/ 264056 h 656236"/>
                  <a:gd name="connsiteX8" fmla="*/ 0 w 1252178"/>
                  <a:gd name="connsiteY8" fmla="*/ 656236 h 656236"/>
                  <a:gd name="connsiteX9" fmla="*/ 1252178 w 1252178"/>
                  <a:gd name="connsiteY9" fmla="*/ 656236 h 656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52178" h="656236">
                    <a:moveTo>
                      <a:pt x="6527" y="0"/>
                    </a:moveTo>
                    <a:lnTo>
                      <a:pt x="0" y="0"/>
                    </a:lnTo>
                    <a:lnTo>
                      <a:pt x="0" y="22762"/>
                    </a:lnTo>
                    <a:close/>
                    <a:moveTo>
                      <a:pt x="1252178" y="0"/>
                    </a:moveTo>
                    <a:lnTo>
                      <a:pt x="184933" y="0"/>
                    </a:lnTo>
                    <a:lnTo>
                      <a:pt x="520610" y="96254"/>
                    </a:lnTo>
                    <a:lnTo>
                      <a:pt x="436596" y="389248"/>
                    </a:lnTo>
                    <a:lnTo>
                      <a:pt x="0" y="264056"/>
                    </a:lnTo>
                    <a:lnTo>
                      <a:pt x="0" y="656236"/>
                    </a:lnTo>
                    <a:lnTo>
                      <a:pt x="1252178" y="656236"/>
                    </a:lnTo>
                    <a:close/>
                  </a:path>
                </a:pathLst>
              </a:custGeom>
              <a:blipFill>
                <a:blip r:embed="rId7">
                  <a:alphaModFix amt="5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62D7A178-6CD4-71F5-B7D0-49A136C6668C}"/>
                  </a:ext>
                </a:extLst>
              </p:cNvPr>
              <p:cNvSpPr/>
              <p:nvPr/>
            </p:nvSpPr>
            <p:spPr>
              <a:xfrm rot="5014722">
                <a:off x="-1045239" y="-1526159"/>
                <a:ext cx="3000665" cy="2910645"/>
              </a:xfrm>
              <a:custGeom>
                <a:avLst/>
                <a:gdLst>
                  <a:gd name="connsiteX0" fmla="*/ 1523683 w 3000665"/>
                  <a:gd name="connsiteY0" fmla="*/ 0 h 2910645"/>
                  <a:gd name="connsiteX1" fmla="*/ 3000665 w 3000665"/>
                  <a:gd name="connsiteY1" fmla="*/ 0 h 2910645"/>
                  <a:gd name="connsiteX2" fmla="*/ 3000665 w 3000665"/>
                  <a:gd name="connsiteY2" fmla="*/ 2910645 h 2910645"/>
                  <a:gd name="connsiteX3" fmla="*/ 2296050 w 3000665"/>
                  <a:gd name="connsiteY3" fmla="*/ 2910645 h 2910645"/>
                  <a:gd name="connsiteX4" fmla="*/ 2396940 w 3000665"/>
                  <a:gd name="connsiteY4" fmla="*/ 2014198 h 2910645"/>
                  <a:gd name="connsiteX5" fmla="*/ 1519827 w 3000665"/>
                  <a:gd name="connsiteY5" fmla="*/ 1915484 h 2910645"/>
                  <a:gd name="connsiteX6" fmla="*/ 1732756 w 3000665"/>
                  <a:gd name="connsiteY6" fmla="*/ 23530 h 2910645"/>
                  <a:gd name="connsiteX7" fmla="*/ 0 w 3000665"/>
                  <a:gd name="connsiteY7" fmla="*/ 2881870 h 2910645"/>
                  <a:gd name="connsiteX8" fmla="*/ 255674 w 3000665"/>
                  <a:gd name="connsiteY8" fmla="*/ 2910645 h 2910645"/>
                  <a:gd name="connsiteX9" fmla="*/ 0 w 3000665"/>
                  <a:gd name="connsiteY9" fmla="*/ 2910645 h 2910645"/>
                  <a:gd name="connsiteX10" fmla="*/ 0 w 3000665"/>
                  <a:gd name="connsiteY10" fmla="*/ 0 h 2910645"/>
                  <a:gd name="connsiteX11" fmla="*/ 93151 w 3000665"/>
                  <a:gd name="connsiteY11" fmla="*/ 0 h 2910645"/>
                  <a:gd name="connsiteX12" fmla="*/ 0 w 3000665"/>
                  <a:gd name="connsiteY12" fmla="*/ 827685 h 29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00665" h="2910645">
                    <a:moveTo>
                      <a:pt x="1523683" y="0"/>
                    </a:moveTo>
                    <a:lnTo>
                      <a:pt x="3000665" y="0"/>
                    </a:lnTo>
                    <a:lnTo>
                      <a:pt x="3000665" y="2910645"/>
                    </a:lnTo>
                    <a:lnTo>
                      <a:pt x="2296050" y="2910645"/>
                    </a:lnTo>
                    <a:lnTo>
                      <a:pt x="2396940" y="2014198"/>
                    </a:lnTo>
                    <a:lnTo>
                      <a:pt x="1519827" y="1915484"/>
                    </a:lnTo>
                    <a:lnTo>
                      <a:pt x="1732756" y="23530"/>
                    </a:lnTo>
                    <a:close/>
                    <a:moveTo>
                      <a:pt x="0" y="2881870"/>
                    </a:moveTo>
                    <a:lnTo>
                      <a:pt x="255674" y="2910645"/>
                    </a:lnTo>
                    <a:lnTo>
                      <a:pt x="0" y="2910645"/>
                    </a:lnTo>
                    <a:close/>
                    <a:moveTo>
                      <a:pt x="0" y="0"/>
                    </a:moveTo>
                    <a:lnTo>
                      <a:pt x="93151" y="0"/>
                    </a:lnTo>
                    <a:lnTo>
                      <a:pt x="0" y="827685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7775FCB5-C85D-65F8-AE72-3945ADD8211D}"/>
                  </a:ext>
                </a:extLst>
              </p:cNvPr>
              <p:cNvSpPr/>
              <p:nvPr/>
            </p:nvSpPr>
            <p:spPr>
              <a:xfrm rot="-5015999" flipH="1">
                <a:off x="8737068" y="-1526159"/>
                <a:ext cx="3000664" cy="2910645"/>
              </a:xfrm>
              <a:custGeom>
                <a:avLst/>
                <a:gdLst>
                  <a:gd name="connsiteX0" fmla="*/ 1734854 w 3000664"/>
                  <a:gd name="connsiteY0" fmla="*/ 0 h 2910645"/>
                  <a:gd name="connsiteX1" fmla="*/ 1519897 w 3000664"/>
                  <a:gd name="connsiteY1" fmla="*/ 1916376 h 2910645"/>
                  <a:gd name="connsiteX2" fmla="*/ 2349159 w 3000664"/>
                  <a:gd name="connsiteY2" fmla="*/ 2009393 h 2910645"/>
                  <a:gd name="connsiteX3" fmla="*/ 2248067 w 3000664"/>
                  <a:gd name="connsiteY3" fmla="*/ 2910645 h 2910645"/>
                  <a:gd name="connsiteX4" fmla="*/ 3000664 w 3000664"/>
                  <a:gd name="connsiteY4" fmla="*/ 2910645 h 2910645"/>
                  <a:gd name="connsiteX5" fmla="*/ 3000664 w 3000664"/>
                  <a:gd name="connsiteY5" fmla="*/ 0 h 2910645"/>
                  <a:gd name="connsiteX6" fmla="*/ 0 w 3000664"/>
                  <a:gd name="connsiteY6" fmla="*/ 2826491 h 2910645"/>
                  <a:gd name="connsiteX7" fmla="*/ 0 w 3000664"/>
                  <a:gd name="connsiteY7" fmla="*/ 2910645 h 2910645"/>
                  <a:gd name="connsiteX8" fmla="*/ 750251 w 3000664"/>
                  <a:gd name="connsiteY8" fmla="*/ 2910645 h 2910645"/>
                  <a:gd name="connsiteX9" fmla="*/ 0 w 3000664"/>
                  <a:gd name="connsiteY9" fmla="*/ 0 h 2910645"/>
                  <a:gd name="connsiteX10" fmla="*/ 0 w 3000664"/>
                  <a:gd name="connsiteY10" fmla="*/ 826165 h 2910645"/>
                  <a:gd name="connsiteX11" fmla="*/ 92670 w 3000664"/>
                  <a:gd name="connsiteY11" fmla="*/ 0 h 29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00664" h="2910645">
                    <a:moveTo>
                      <a:pt x="1734854" y="0"/>
                    </a:moveTo>
                    <a:lnTo>
                      <a:pt x="1519897" y="1916376"/>
                    </a:lnTo>
                    <a:lnTo>
                      <a:pt x="2349159" y="2009393"/>
                    </a:lnTo>
                    <a:lnTo>
                      <a:pt x="2248067" y="2910645"/>
                    </a:lnTo>
                    <a:lnTo>
                      <a:pt x="3000664" y="2910645"/>
                    </a:lnTo>
                    <a:lnTo>
                      <a:pt x="3000664" y="0"/>
                    </a:lnTo>
                    <a:close/>
                    <a:moveTo>
                      <a:pt x="0" y="2826491"/>
                    </a:moveTo>
                    <a:lnTo>
                      <a:pt x="0" y="2910645"/>
                    </a:lnTo>
                    <a:lnTo>
                      <a:pt x="750251" y="2910645"/>
                    </a:lnTo>
                    <a:close/>
                    <a:moveTo>
                      <a:pt x="0" y="0"/>
                    </a:moveTo>
                    <a:lnTo>
                      <a:pt x="0" y="826165"/>
                    </a:lnTo>
                    <a:lnTo>
                      <a:pt x="9267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6A3A48D-E489-244D-93D1-85F715076DC6}"/>
                </a:ext>
              </a:extLst>
            </p:cNvPr>
            <p:cNvGrpSpPr/>
            <p:nvPr/>
          </p:nvGrpSpPr>
          <p:grpSpPr>
            <a:xfrm>
              <a:off x="1998113" y="468121"/>
              <a:ext cx="6531661" cy="844273"/>
              <a:chOff x="1998113" y="468121"/>
              <a:chExt cx="6531661" cy="844273"/>
            </a:xfrm>
          </p:grpSpPr>
          <p:sp>
            <p:nvSpPr>
              <p:cNvPr id="16" name="Freeform 16"/>
              <p:cNvSpPr/>
              <p:nvPr/>
            </p:nvSpPr>
            <p:spPr>
              <a:xfrm rot="934940" flipH="1">
                <a:off x="7481580" y="468121"/>
                <a:ext cx="1048194" cy="844273"/>
              </a:xfrm>
              <a:custGeom>
                <a:avLst/>
                <a:gdLst/>
                <a:ahLst/>
                <a:cxnLst/>
                <a:rect l="l" t="t" r="r" b="b"/>
                <a:pathLst>
                  <a:path w="1048194" h="844273">
                    <a:moveTo>
                      <a:pt x="1048194" y="0"/>
                    </a:moveTo>
                    <a:lnTo>
                      <a:pt x="0" y="0"/>
                    </a:lnTo>
                    <a:lnTo>
                      <a:pt x="0" y="844273"/>
                    </a:lnTo>
                    <a:lnTo>
                      <a:pt x="1048194" y="844273"/>
                    </a:lnTo>
                    <a:lnTo>
                      <a:pt x="1048194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Freeform 17"/>
              <p:cNvSpPr/>
              <p:nvPr/>
            </p:nvSpPr>
            <p:spPr>
              <a:xfrm rot="1340752">
                <a:off x="7680702" y="761257"/>
                <a:ext cx="525567" cy="387606"/>
              </a:xfrm>
              <a:custGeom>
                <a:avLst/>
                <a:gdLst/>
                <a:ahLst/>
                <a:cxnLst/>
                <a:rect l="l" t="t" r="r" b="b"/>
                <a:pathLst>
                  <a:path w="525567" h="387606">
                    <a:moveTo>
                      <a:pt x="0" y="0"/>
                    </a:moveTo>
                    <a:lnTo>
                      <a:pt x="525567" y="0"/>
                    </a:lnTo>
                    <a:lnTo>
                      <a:pt x="525567" y="387606"/>
                    </a:lnTo>
                    <a:lnTo>
                      <a:pt x="0" y="38760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Freeform 18"/>
              <p:cNvSpPr/>
              <p:nvPr/>
            </p:nvSpPr>
            <p:spPr>
              <a:xfrm rot="-936000">
                <a:off x="1998113" y="468121"/>
                <a:ext cx="1048194" cy="844273"/>
              </a:xfrm>
              <a:custGeom>
                <a:avLst/>
                <a:gdLst/>
                <a:ahLst/>
                <a:cxnLst/>
                <a:rect l="l" t="t" r="r" b="b"/>
                <a:pathLst>
                  <a:path w="1048194" h="844273">
                    <a:moveTo>
                      <a:pt x="0" y="0"/>
                    </a:moveTo>
                    <a:lnTo>
                      <a:pt x="1048195" y="0"/>
                    </a:lnTo>
                    <a:lnTo>
                      <a:pt x="1048195" y="844273"/>
                    </a:lnTo>
                    <a:lnTo>
                      <a:pt x="0" y="84427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Freeform 19"/>
              <p:cNvSpPr/>
              <p:nvPr/>
            </p:nvSpPr>
            <p:spPr>
              <a:xfrm rot="-1338000" flipH="1">
                <a:off x="2259427" y="761393"/>
                <a:ext cx="525567" cy="387606"/>
              </a:xfrm>
              <a:custGeom>
                <a:avLst/>
                <a:gdLst/>
                <a:ahLst/>
                <a:cxnLst/>
                <a:rect l="l" t="t" r="r" b="b"/>
                <a:pathLst>
                  <a:path w="525567" h="387606">
                    <a:moveTo>
                      <a:pt x="525567" y="0"/>
                    </a:moveTo>
                    <a:lnTo>
                      <a:pt x="0" y="0"/>
                    </a:lnTo>
                    <a:lnTo>
                      <a:pt x="0" y="387606"/>
                    </a:lnTo>
                    <a:lnTo>
                      <a:pt x="525567" y="387606"/>
                    </a:lnTo>
                    <a:lnTo>
                      <a:pt x="525567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AAD9A5F1-177B-0ABF-62E4-A5C8F1B840E7}"/>
                </a:ext>
              </a:extLst>
            </p:cNvPr>
            <p:cNvGrpSpPr/>
            <p:nvPr/>
          </p:nvGrpSpPr>
          <p:grpSpPr>
            <a:xfrm>
              <a:off x="514040" y="1658440"/>
              <a:ext cx="9665320" cy="5388220"/>
              <a:chOff x="514040" y="1658440"/>
              <a:chExt cx="9665320" cy="538822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514040" y="1658440"/>
                <a:ext cx="9665320" cy="5388220"/>
              </a:xfrm>
              <a:custGeom>
                <a:avLst/>
                <a:gdLst/>
                <a:ahLst/>
                <a:cxnLst/>
                <a:rect l="l" t="t" r="r" b="b"/>
                <a:pathLst>
                  <a:path w="3463833" h="1931016">
                    <a:moveTo>
                      <a:pt x="0" y="0"/>
                    </a:moveTo>
                    <a:lnTo>
                      <a:pt x="3463833" y="0"/>
                    </a:lnTo>
                    <a:lnTo>
                      <a:pt x="3463833" y="1931016"/>
                    </a:lnTo>
                    <a:lnTo>
                      <a:pt x="0" y="1931016"/>
                    </a:lnTo>
                    <a:close/>
                  </a:path>
                </a:pathLst>
              </a:custGeom>
              <a:solidFill>
                <a:srgbClr val="E8E6E7"/>
              </a:solidFill>
              <a:ln w="9525" cap="sq">
                <a:solidFill>
                  <a:srgbClr val="210D2E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Freeform 26"/>
              <p:cNvSpPr/>
              <p:nvPr/>
            </p:nvSpPr>
            <p:spPr>
              <a:xfrm>
                <a:off x="514040" y="1658440"/>
                <a:ext cx="9665320" cy="406892"/>
              </a:xfrm>
              <a:custGeom>
                <a:avLst/>
                <a:gdLst/>
                <a:ahLst/>
                <a:cxnLst/>
                <a:rect l="l" t="t" r="r" b="b"/>
                <a:pathLst>
                  <a:path w="3463833" h="145821">
                    <a:moveTo>
                      <a:pt x="0" y="0"/>
                    </a:moveTo>
                    <a:lnTo>
                      <a:pt x="3463833" y="0"/>
                    </a:lnTo>
                    <a:lnTo>
                      <a:pt x="3463833" y="145821"/>
                    </a:lnTo>
                    <a:lnTo>
                      <a:pt x="0" y="145821"/>
                    </a:lnTo>
                    <a:close/>
                  </a:path>
                </a:pathLst>
              </a:custGeom>
              <a:solidFill>
                <a:srgbClr val="F2CD7C"/>
              </a:solidFill>
              <a:ln w="9525" cap="sq">
                <a:solidFill>
                  <a:srgbClr val="210D2E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AutoShape 32"/>
              <p:cNvSpPr/>
              <p:nvPr/>
            </p:nvSpPr>
            <p:spPr>
              <a:xfrm flipV="1">
                <a:off x="514040" y="2618283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2906906" y="1658440"/>
                <a:ext cx="0" cy="538822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4539078" y="1658440"/>
                <a:ext cx="0" cy="538822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AutoShape 35"/>
              <p:cNvSpPr/>
              <p:nvPr/>
            </p:nvSpPr>
            <p:spPr>
              <a:xfrm>
                <a:off x="7377637" y="1658440"/>
                <a:ext cx="0" cy="538822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AutoShape 36"/>
              <p:cNvSpPr/>
              <p:nvPr/>
            </p:nvSpPr>
            <p:spPr>
              <a:xfrm flipV="1">
                <a:off x="514040" y="3171235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AutoShape 37"/>
              <p:cNvSpPr/>
              <p:nvPr/>
            </p:nvSpPr>
            <p:spPr>
              <a:xfrm flipV="1">
                <a:off x="514040" y="3724187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" name="AutoShape 38"/>
              <p:cNvSpPr/>
              <p:nvPr/>
            </p:nvSpPr>
            <p:spPr>
              <a:xfrm flipV="1">
                <a:off x="514040" y="4277139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AutoShape 39"/>
              <p:cNvSpPr/>
              <p:nvPr/>
            </p:nvSpPr>
            <p:spPr>
              <a:xfrm flipV="1">
                <a:off x="514040" y="4830091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AutoShape 40"/>
              <p:cNvSpPr/>
              <p:nvPr/>
            </p:nvSpPr>
            <p:spPr>
              <a:xfrm flipV="1">
                <a:off x="514040" y="5383042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AutoShape 41"/>
              <p:cNvSpPr/>
              <p:nvPr/>
            </p:nvSpPr>
            <p:spPr>
              <a:xfrm flipV="1">
                <a:off x="514040" y="5935994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AutoShape 42"/>
              <p:cNvSpPr/>
              <p:nvPr/>
            </p:nvSpPr>
            <p:spPr>
              <a:xfrm flipV="1">
                <a:off x="514040" y="6488946"/>
                <a:ext cx="9665320" cy="0"/>
              </a:xfrm>
              <a:prstGeom prst="line">
                <a:avLst/>
              </a:prstGeom>
              <a:ln w="9525" cap="flat">
                <a:solidFill>
                  <a:srgbClr val="210D2E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3" name="Text">
              <a:extLst>
                <a:ext uri="{FF2B5EF4-FFF2-40B4-BE49-F238E27FC236}">
                  <a16:creationId xmlns:a16="http://schemas.microsoft.com/office/drawing/2014/main" id="{D8172E14-2B5B-FB6E-E42C-E47DFA146C5E}"/>
                </a:ext>
              </a:extLst>
            </p:cNvPr>
            <p:cNvGrpSpPr/>
            <p:nvPr/>
          </p:nvGrpSpPr>
          <p:grpSpPr>
            <a:xfrm>
              <a:off x="1185001" y="434974"/>
              <a:ext cx="8118269" cy="1488467"/>
              <a:chOff x="1185001" y="434974"/>
              <a:chExt cx="8118269" cy="1488467"/>
            </a:xfrm>
          </p:grpSpPr>
          <p:sp>
            <p:nvSpPr>
              <p:cNvPr id="31" name="Costume Theme"/>
              <p:cNvSpPr txBox="1"/>
              <p:nvPr/>
            </p:nvSpPr>
            <p:spPr>
              <a:xfrm>
                <a:off x="8248264" y="1800330"/>
                <a:ext cx="1055006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800" spc="-24" dirty="0">
                    <a:solidFill>
                      <a:srgbClr val="210D2E"/>
                    </a:solidFill>
                    <a:latin typeface="Fredoka Medium"/>
                    <a:ea typeface="Fredoka Medium"/>
                    <a:cs typeface="Fredoka Medium"/>
                    <a:sym typeface="Fredoka Medium"/>
                  </a:rPr>
                  <a:t>Costume Theme</a:t>
                </a:r>
              </a:p>
            </p:txBody>
          </p:sp>
          <p:sp>
            <p:nvSpPr>
              <p:cNvPr id="30" name="Email"/>
              <p:cNvSpPr txBox="1"/>
              <p:nvPr/>
            </p:nvSpPr>
            <p:spPr>
              <a:xfrm>
                <a:off x="5430854" y="1800330"/>
                <a:ext cx="1055006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800" spc="-24" dirty="0">
                    <a:solidFill>
                      <a:srgbClr val="210D2E"/>
                    </a:solidFill>
                    <a:latin typeface="Fredoka Medium"/>
                    <a:ea typeface="Fredoka Medium"/>
                    <a:cs typeface="Fredoka Medium"/>
                    <a:sym typeface="Fredoka Medium"/>
                  </a:rPr>
                  <a:t>Email</a:t>
                </a:r>
              </a:p>
            </p:txBody>
          </p:sp>
          <p:sp>
            <p:nvSpPr>
              <p:cNvPr id="29" name="Phone"/>
              <p:cNvSpPr txBox="1"/>
              <p:nvPr/>
            </p:nvSpPr>
            <p:spPr>
              <a:xfrm>
                <a:off x="3195489" y="1800330"/>
                <a:ext cx="1055006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800" spc="-24" dirty="0">
                    <a:solidFill>
                      <a:srgbClr val="210D2E"/>
                    </a:solidFill>
                    <a:latin typeface="Fredoka Medium"/>
                    <a:ea typeface="Fredoka Medium"/>
                    <a:cs typeface="Fredoka Medium"/>
                    <a:sym typeface="Fredoka Medium"/>
                  </a:rPr>
                  <a:t>Phone</a:t>
                </a:r>
              </a:p>
            </p:txBody>
          </p:sp>
          <p:sp>
            <p:nvSpPr>
              <p:cNvPr id="28" name="Full name"/>
              <p:cNvSpPr txBox="1"/>
              <p:nvPr/>
            </p:nvSpPr>
            <p:spPr>
              <a:xfrm>
                <a:off x="1185001" y="1800330"/>
                <a:ext cx="1055006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800" spc="-24" dirty="0">
                    <a:solidFill>
                      <a:srgbClr val="210D2E"/>
                    </a:solidFill>
                    <a:latin typeface="Fredoka Medium"/>
                    <a:ea typeface="Fredoka Medium"/>
                    <a:cs typeface="Fredoka Medium"/>
                    <a:sym typeface="Fredoka Medium"/>
                  </a:rPr>
                  <a:t>Full name</a:t>
                </a:r>
              </a:p>
            </p:txBody>
          </p:sp>
          <p:sp>
            <p:nvSpPr>
              <p:cNvPr id="20" name="Halloween Party"/>
              <p:cNvSpPr txBox="1"/>
              <p:nvPr/>
            </p:nvSpPr>
            <p:spPr>
              <a:xfrm>
                <a:off x="3534966" y="434974"/>
                <a:ext cx="3623467" cy="9821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6400" dirty="0">
                    <a:solidFill>
                      <a:srgbClr val="F2CD7C"/>
                    </a:solidFill>
                    <a:latin typeface="Bigelow Rules"/>
                    <a:ea typeface="Bigelow Rules"/>
                    <a:cs typeface="Bigelow Rules"/>
                    <a:sym typeface="Bigelow Rules"/>
                  </a:rPr>
                  <a:t>Halloween Party</a:t>
                </a:r>
              </a:p>
            </p:txBody>
          </p:sp>
          <p:sp>
            <p:nvSpPr>
              <p:cNvPr id="21" name="SIGN UP SHEET"/>
              <p:cNvSpPr txBox="1"/>
              <p:nvPr/>
            </p:nvSpPr>
            <p:spPr>
              <a:xfrm>
                <a:off x="4819197" y="447289"/>
                <a:ext cx="1055006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900" spc="77" dirty="0">
                    <a:solidFill>
                      <a:srgbClr val="E8E6E7"/>
                    </a:solidFill>
                    <a:latin typeface="Fredoka"/>
                    <a:ea typeface="Fredoka"/>
                    <a:cs typeface="Fredoka"/>
                    <a:sym typeface="Fredoka"/>
                  </a:rPr>
                  <a:t>SIGN UP SHEET</a:t>
                </a:r>
              </a:p>
            </p:txBody>
          </p:sp>
        </p:grpSp>
        <p:sp>
          <p:nvSpPr>
            <p:cNvPr id="4" name="QuickSignup"/>
            <p:cNvSpPr/>
            <p:nvPr/>
          </p:nvSpPr>
          <p:spPr>
            <a:xfrm>
              <a:off x="5015549" y="7127133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alphaModFix amt="60000"/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11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Fredoka Medium</vt:lpstr>
      <vt:lpstr>Bigelow Rules</vt:lpstr>
      <vt:lpstr>Fredoka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Landscape)</dc:title>
  <dc:creator>Hoang Anh</dc:creator>
  <cp:lastModifiedBy>Hoang Anh</cp:lastModifiedBy>
  <cp:revision>25</cp:revision>
  <dcterms:created xsi:type="dcterms:W3CDTF">2006-08-16T00:00:00Z</dcterms:created>
  <dcterms:modified xsi:type="dcterms:W3CDTF">2024-07-12T02:37:21Z</dcterms:modified>
  <dc:identifier>DAGKpru0Wtg</dc:identifier>
</cp:coreProperties>
</file>